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9"/>
  </p:notesMasterIdLst>
  <p:sldIdLst>
    <p:sldId id="256" r:id="rId3"/>
    <p:sldId id="259" r:id="rId4"/>
    <p:sldId id="261" r:id="rId5"/>
    <p:sldId id="275" r:id="rId6"/>
    <p:sldId id="263" r:id="rId7"/>
    <p:sldId id="276" r:id="rId8"/>
    <p:sldId id="277" r:id="rId9"/>
    <p:sldId id="278" r:id="rId10"/>
    <p:sldId id="267" r:id="rId11"/>
    <p:sldId id="268" r:id="rId12"/>
    <p:sldId id="269" r:id="rId13"/>
    <p:sldId id="262" r:id="rId14"/>
    <p:sldId id="270" r:id="rId15"/>
    <p:sldId id="271" r:id="rId16"/>
    <p:sldId id="272" r:id="rId17"/>
    <p:sldId id="273" r:id="rId18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48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7" autoAdjust="0"/>
    <p:restoredTop sz="94660"/>
  </p:normalViewPr>
  <p:slideViewPr>
    <p:cSldViewPr snapToGrid="0">
      <p:cViewPr varScale="1">
        <p:scale>
          <a:sx n="96" d="100"/>
          <a:sy n="96" d="100"/>
        </p:scale>
        <p:origin x="101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5D7307-1CC8-48E4-8362-9883D5CEA683}" type="datetimeFigureOut">
              <a:rPr lang="nl-NL" smtClean="0"/>
              <a:t>11-9-2022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ED2F1B-458B-4CBC-BDA8-D037A66928D5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900358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3853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oleObject" Target="../embeddings/oleObject2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7BAABB-79F2-45D7-AD8D-146007275A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17FADC0-3E53-46D5-9438-B5281C4FA4B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237E28-CEA0-45A0-8DC7-D45FBB0460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A15C5-35DA-42D8-BC53-5C82FCBBB759}" type="datetimeFigureOut">
              <a:rPr lang="nl-NL" smtClean="0"/>
              <a:t>11-9-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0BEC43-24A9-4D83-9B2F-CBFEA6D476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6F5CDD-B635-4AD5-80AB-81F8C8DECA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E2979-7B3C-455D-92A2-BE93F9C3D21D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356080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71A0ED-2BF4-4499-A2BC-B6D1260E41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E5000BB-4155-49C7-A4C7-2E7F0719826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4C8627-9C7A-483C-9C6B-4B6A0307CC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A15C5-35DA-42D8-BC53-5C82FCBBB759}" type="datetimeFigureOut">
              <a:rPr lang="nl-NL" smtClean="0"/>
              <a:t>11-9-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EFBDE7-E5FB-4C4F-A3EC-57FD17A963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7113D2-1656-46D7-8EA5-6CB36C701B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E2979-7B3C-455D-92A2-BE93F9C3D21D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516481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9F15FC1-3A68-4511-8ABF-85569A723CC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03A5AD0-5BB2-48A0-A6C3-82465632BAF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0963E9-315E-4DFD-A432-BA598EB66F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A15C5-35DA-42D8-BC53-5C82FCBBB759}" type="datetimeFigureOut">
              <a:rPr lang="nl-NL" smtClean="0"/>
              <a:t>11-9-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DB4E70-182C-4524-8515-3E83A64706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A3A69A-A628-47DB-9C52-951AFC4521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E2979-7B3C-455D-92A2-BE93F9C3D21D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337149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E515D4-F7C2-2646-8C3D-E316FF6D55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A0A1A357-074A-994C-9C26-86A4BBEA6D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1D6BB9D9-D04C-0F46-9547-8E103873D5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48BC1D-DFAF-6345-9FBF-26BE71D777AC}" type="datetime1">
              <a:rPr lang="nl-NL" smtClean="0"/>
              <a:t>11-9-2022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14D910E-F253-0841-80A4-61F99B5009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Algemene Ledenvergadering |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CD6BD66-38FC-9C48-9F47-DD2B7E3B28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B76575-F0E3-2946-B352-1F31B9633D4B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619205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A0D0B9-3F79-CB43-976E-757F9739BB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7D98624-D149-F446-B13C-99FC4FA84B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/>
              <a:t>Tekststijl van het model bewerken
Tweede niveau
Derde niveau
Vierde niveau
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2A23DACD-ECB8-FA43-859C-0E838CE689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F4631D-C51B-1241-98C8-2070137CB427}" type="datetime1">
              <a:rPr lang="nl-NL" smtClean="0"/>
              <a:t>11-9-2022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566C649-B6FC-BC42-A3D7-E434B18EEC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Algemene Ledenvergadering |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2DBA9BE-88F7-0C40-964C-DEF49F1340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B76575-F0E3-2946-B352-1F31B9633D4B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003338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6060B1-B597-1B4C-8C23-F7DB796F30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CFCC4B08-F283-874E-B50E-652900B101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Tekststijl van het model bewerken
Tweede niveau
Derde niveau
Vierde niveau
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0502B0B-C3E7-0743-AABB-69846D9E5C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586CDA-1445-8640-82A8-4A1BEF45217C}" type="datetime1">
              <a:rPr lang="nl-NL" smtClean="0"/>
              <a:t>11-9-2022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D9E7529-A55C-1746-938F-A00E0E7242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Algemene Ledenvergadering |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A3FCCCA-385C-8140-A880-CF4914D806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B76575-F0E3-2946-B352-1F31B9633D4B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838932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352C305-6918-F54A-AC18-4939E88123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BD797855-EB02-6845-9603-EF01A1DEDF1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nl-NL"/>
              <a:t>Tekststijl van het model bewerken
Tweede niveau
Derde niveau
Vierde niveau
Vijfde niveau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263E6F02-2E05-CB49-8F57-C99B42386AD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nl-NL"/>
              <a:t>Tekststijl van het model bewerken
Tweede niveau
Derde niveau
Vierde niveau
Vijfde niveau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428E8AEE-2A1B-3340-AD98-9735987C5A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9E0930-C816-224A-AFE5-62FC38FAED68}" type="datetime1">
              <a:rPr lang="nl-NL" smtClean="0"/>
              <a:t>11-9-2022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C8703F2E-8620-E547-ADB4-C671559CD1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Algemene Ledenvergadering |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7A0F3959-6D85-994E-AFD2-21F70AD797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B76575-F0E3-2946-B352-1F31B9633D4B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676584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7CD9D2-EB6B-4B48-B828-1E4CB74E2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9AB8FF2-134E-5448-9296-18421AE48C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nl-NL"/>
              <a:t>Tekststijl van het model bewerken
Tweede niveau
Derde niveau
Vierde niveau
Vijfde niveau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EA8617C1-2371-724E-87F9-9507256FF44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nl-NL"/>
              <a:t>Tekststijl van het model bewerken
Tweede niveau
Derde niveau
Vierde niveau
Vijfde niveau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169F1454-DC1A-C240-AE7D-A9CD58BEA5D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nl-NL"/>
              <a:t>Tekststijl van het model bewerken
Tweede niveau
Derde niveau
Vierde niveau
Vijfde niveau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054D816B-C97C-C842-97B2-9433EC7ABC3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nl-NL"/>
              <a:t>Tekststijl van het model bewerken
Tweede niveau
Derde niveau
Vierde niveau
Vijfde niveau</a:t>
            </a:r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59D792A2-CBCC-8648-8B14-D369466ADF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BF15FD-61AE-5A41-BD05-F343E5DF6D80}" type="datetime1">
              <a:rPr lang="nl-NL" smtClean="0"/>
              <a:t>11-9-2022</a:t>
            </a:fld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E028EB12-05B2-6143-BF51-E50C68DAE9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Algemene Ledenvergadering |</a:t>
            </a:r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50078CD4-96B6-E146-8803-C09C353484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B76575-F0E3-2946-B352-1F31B9633D4B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825843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E203EB-9B8D-AC49-B325-3FDBF4CBF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E2612B56-189B-E040-A25D-767C57C75D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A8CD6-5A94-F344-A581-583FD30219AB}" type="datetime1">
              <a:rPr lang="nl-NL" smtClean="0"/>
              <a:t>11-9-2022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563F8F90-B1D9-5646-AAA3-F725ACC215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Algemene Ledenvergadering |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F70F9978-AEDA-C442-9E13-FD3E641F92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B76575-F0E3-2946-B352-1F31B9633D4B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499490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D17CD1C2-DD3E-7E4F-B0E1-2E1DBB73CD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1F30E0-918D-4841-BC8A-B46F69EB8DC5}" type="datetime1">
              <a:rPr lang="nl-NL" smtClean="0"/>
              <a:t>11-9-2022</a:t>
            </a:fld>
            <a:endParaRPr lang="nl-NL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2DA9700-F5C1-0845-BF1C-2BAE35FC7E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Algemene Ledenvergadering |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FDE86724-CA54-8C4F-8F45-F92555D1C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B76575-F0E3-2946-B352-1F31B9633D4B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176876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2772A1-254A-C748-9CD5-F7DA42F47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03FB3034-6235-3F4F-A342-5ABC7E7E3E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nl-NL"/>
              <a:t>Tekststijl van het model bewerken
Tweede niveau
Derde niveau
Vierde niveau
Vijfde niveau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3D76851E-2B0E-014E-9F35-399B337356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nl-NL"/>
              <a:t>Tekststijl van het model bewerken
Tweede niveau
Derde niveau
Vierde niveau
Vijfde niveau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A921035B-EE1A-FD47-98BC-3622B730EA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6E6E8-BC97-2F40-8A2E-5F73E20DBF44}" type="datetime1">
              <a:rPr lang="nl-NL" smtClean="0"/>
              <a:t>11-9-2022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D67ABA82-6EDF-F04B-B222-5A497DA807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Algemene Ledenvergadering |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10114BCA-1E39-CE41-81A8-017CD9212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B76575-F0E3-2946-B352-1F31B9633D4B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094401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43004A-293F-4DB7-B26E-CA40DE2467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5B9447-1480-4BD1-8C49-F20E9C7D58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3F9E03-1AE6-4B7E-B19A-6678119C29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A15C5-35DA-42D8-BC53-5C82FCBBB759}" type="datetimeFigureOut">
              <a:rPr lang="nl-NL" smtClean="0"/>
              <a:t>11-9-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34E6A0-73D0-4008-BB06-7DEC2D0C4C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049F97-94E2-4719-839D-988C6ACE36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E2979-7B3C-455D-92A2-BE93F9C3D21D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037537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038753-C59D-8B4B-8AB1-CBF629ACAD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517A6265-4D1E-7F41-8585-58B8D5994CF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DDC7F6DC-46A9-DE48-A69C-CF99F4A591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nl-NL"/>
              <a:t>Tekststijl van het model bewerken
Tweede niveau
Derde niveau
Vierde niveau
Vijfde niveau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80460E01-0990-6D48-9C00-A454C6CC56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6CD448-FBAE-A34B-B523-4068EF1A03E2}" type="datetime1">
              <a:rPr lang="nl-NL" smtClean="0"/>
              <a:t>11-9-2022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86C2BE6E-92FA-114D-8380-4EE4CFDC6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Algemene Ledenvergadering |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0F8D515A-EE48-5E41-9C4D-92D47EDBB4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B76575-F0E3-2946-B352-1F31B9633D4B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098371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6BFDBA-6E65-934C-9DF9-4529D6C85B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BDE46957-C080-6248-BB7D-FB012B1037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nl-NL"/>
              <a:t>Tekststijl van het model bewerken
Tweede niveau
Derde niveau
Vierde niveau
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81F497AF-B5AB-974A-B688-97DD1A4A0E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825ACD-637C-B54B-ADEF-400983564A28}" type="datetime1">
              <a:rPr lang="nl-NL" smtClean="0"/>
              <a:t>11-9-2022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455BB34-F113-984C-84B7-3EB728A44C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Algemene Ledenvergadering |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21F4832A-553B-D74C-B324-16B4276647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B76575-F0E3-2946-B352-1F31B9633D4B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911991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>
            <a:extLst>
              <a:ext uri="{FF2B5EF4-FFF2-40B4-BE49-F238E27FC236}">
                <a16:creationId xmlns:a16="http://schemas.microsoft.com/office/drawing/2014/main" id="{0FA27B84-767E-1A49-A7CB-A8D1EEF96A8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A4E5E67D-7A81-5C4F-A917-1AF1329B4C5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nl-NL"/>
              <a:t>Tekststijl van het model bewerken
Tweede niveau
Derde niveau
Vierde niveau
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6D41C85C-38A8-434E-B27E-DF10130C47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AF6674-C5AA-1644-A294-E3FE919CFCCD}" type="datetime1">
              <a:rPr lang="nl-NL" smtClean="0"/>
              <a:t>11-9-2022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789E48C-64B7-994F-88E2-F9AD6D8D85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Algemene Ledenvergadering |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DFC9CD0-8FA0-9849-9691-1041022DDC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B76575-F0E3-2946-B352-1F31B9633D4B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946903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6240737"/>
            <a:ext cx="12291171" cy="617263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733" b="1" i="0" u="none" strike="noStrike" cap="none" normalizeH="0" baseline="0">
              <a:ln>
                <a:noFill/>
              </a:ln>
              <a:solidFill>
                <a:srgbClr val="FDE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</a:endParaRP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2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2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665135" y="717552"/>
            <a:ext cx="5900733" cy="15282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121914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itchFamily="34" charset="0"/>
              <a:buNone/>
              <a:defRPr lang="en-US" sz="4800" b="0" i="0" kern="1200" baseline="0" dirty="0" smtClean="0">
                <a:solidFill>
                  <a:srgbClr val="323232"/>
                </a:solidFill>
                <a:effectLst/>
                <a:latin typeface="Helvetica Neue Light"/>
                <a:ea typeface="Helvetica Neue Regular" charset="0"/>
                <a:cs typeface="Helvetica Neue Ligh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22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2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665134" y="3418417"/>
            <a:ext cx="4891919" cy="12192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1219140" rtl="0" eaLnBrk="1" fontAlgn="auto" latinLnBrk="0" hangingPunct="1">
              <a:lnSpc>
                <a:spcPct val="150000"/>
              </a:lnSpc>
              <a:spcBef>
                <a:spcPts val="800"/>
              </a:spcBef>
              <a:spcAft>
                <a:spcPts val="0"/>
              </a:spcAft>
              <a:buFont typeface="Arial" pitchFamily="34" charset="0"/>
              <a:buNone/>
              <a:defRPr lang="en-US" sz="3200" b="0" i="0" kern="1200" baseline="0" dirty="0" smtClean="0">
                <a:solidFill>
                  <a:srgbClr val="C5C8C9"/>
                </a:solidFill>
                <a:effectLst/>
                <a:latin typeface="Helvetica Neue Light"/>
                <a:ea typeface="Helvetica Neue" charset="0"/>
                <a:cs typeface="Helvetica Neue Light"/>
              </a:defRPr>
            </a:lvl1pPr>
          </a:lstStyle>
          <a:p>
            <a:pPr lvl="0"/>
            <a:r>
              <a:rPr lang="en-US" dirty="0"/>
              <a:t>Subtitle Optional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65134" y="5679017"/>
            <a:ext cx="4458535" cy="88688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121914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itchFamily="34" charset="0"/>
              <a:buNone/>
              <a:defRPr lang="en-US" sz="1333" b="0" i="0" kern="1200" baseline="0" dirty="0" smtClean="0">
                <a:solidFill>
                  <a:srgbClr val="000000"/>
                </a:solidFill>
                <a:effectLst/>
                <a:latin typeface="Helvetica Neue" charset="0"/>
                <a:ea typeface="Helvetica Neue" charset="0"/>
                <a:cs typeface="Helvetica Neue" charset="0"/>
              </a:defRPr>
            </a:lvl1pPr>
          </a:lstStyle>
          <a:p>
            <a:pPr lvl="0"/>
            <a:r>
              <a:rPr lang="en-US" dirty="0"/>
              <a:t>Month Date, Year</a:t>
            </a:r>
          </a:p>
          <a:p>
            <a:pPr lvl="0"/>
            <a:r>
              <a:rPr lang="en-US" dirty="0"/>
              <a:t>Presented By</a:t>
            </a:r>
          </a:p>
          <a:p>
            <a:pPr lvl="0"/>
            <a:r>
              <a:rPr lang="en-US" dirty="0"/>
              <a:t>Full Name, Title</a:t>
            </a:r>
          </a:p>
        </p:txBody>
      </p:sp>
    </p:spTree>
    <p:extLst>
      <p:ext uri="{BB962C8B-B14F-4D97-AF65-F5344CB8AC3E}">
        <p14:creationId xmlns:p14="http://schemas.microsoft.com/office/powerpoint/2010/main" val="550226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80A676-114F-40AD-A89D-2CC0A6A46B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A437DE-0C60-41AD-B742-76F078C351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4C4EB-27D0-47BD-B6A1-9F2BA3773D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A15C5-35DA-42D8-BC53-5C82FCBBB759}" type="datetimeFigureOut">
              <a:rPr lang="nl-NL" smtClean="0"/>
              <a:t>11-9-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34071D-EE31-48E4-9186-527E9A0CBD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70E253-D3E4-420C-8175-557C6F6327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E2979-7B3C-455D-92A2-BE93F9C3D21D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251236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8335AE-783D-4979-826D-5CBDBA5E98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15F44B-333F-4144-A7AA-FB81712815B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050AE24-6AE2-4EE7-BCF5-D688C5FCC8D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F9BE834-52E8-4EE1-8B57-7FA5F7A46C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A15C5-35DA-42D8-BC53-5C82FCBBB759}" type="datetimeFigureOut">
              <a:rPr lang="nl-NL" smtClean="0"/>
              <a:t>11-9-2022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62F5301-9C5A-476B-B0D7-E5E92DDBCE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2F5766-6937-47B2-BDF7-3C0CD4AF9C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E2979-7B3C-455D-92A2-BE93F9C3D21D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887645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5C85E-060C-4C86-A5E9-D241F16EC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2C9FB1-3E28-40E9-85CD-FCF66F44C7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5AE375-695C-4E02-9269-9223C424D0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952C0A0-A988-4E7A-982D-6582E5923F3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B4E99AF-45E6-4FA3-A70B-E8E50A796D7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6ECA2B1-681B-4656-B1CB-F280235C04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A15C5-35DA-42D8-BC53-5C82FCBBB759}" type="datetimeFigureOut">
              <a:rPr lang="nl-NL" smtClean="0"/>
              <a:t>11-9-2022</a:t>
            </a:fld>
            <a:endParaRPr lang="nl-NL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ECD82CD-D1AF-4557-8E38-56283787B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F022F78-2EE0-4892-A79D-A672F1866D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E2979-7B3C-455D-92A2-BE93F9C3D21D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772532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C35D30-9F27-4D27-A991-49FCD12A44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304EE8E-A841-4DA8-8486-0004EDF1D8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A15C5-35DA-42D8-BC53-5C82FCBBB759}" type="datetimeFigureOut">
              <a:rPr lang="nl-NL" smtClean="0"/>
              <a:t>11-9-2022</a:t>
            </a:fld>
            <a:endParaRPr lang="nl-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5CFA93-09FC-4BCE-AFCD-659AAD4679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76B69D-3079-4FAE-A48D-48684ACC6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E2979-7B3C-455D-92A2-BE93F9C3D21D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884149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57DA91C-9044-4BBC-A12D-35A8907390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A15C5-35DA-42D8-BC53-5C82FCBBB759}" type="datetimeFigureOut">
              <a:rPr lang="nl-NL" smtClean="0"/>
              <a:t>11-9-2022</a:t>
            </a:fld>
            <a:endParaRPr lang="nl-NL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36F1058-025E-4981-8904-DECC9F8A55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4ECF0A-C2BF-4500-A39A-DE380D3F7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E2979-7B3C-455D-92A2-BE93F9C3D21D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709901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8906C8-E301-4FAE-9659-965FB040C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2B71E8-B7A7-4028-964C-1721269607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47B604-DEB1-4C14-B900-75FC56B83D3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89B6C7B-5FAE-46E3-8EC2-688AC979DE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A15C5-35DA-42D8-BC53-5C82FCBBB759}" type="datetimeFigureOut">
              <a:rPr lang="nl-NL" smtClean="0"/>
              <a:t>11-9-2022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4417DA-E1F7-486D-8DF6-BCA4D51A9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B82BDC-00DF-4C24-BBAB-47BD3196F2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E2979-7B3C-455D-92A2-BE93F9C3D21D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48512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857E23-52D8-46A3-B8AF-ABCFB148FB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B8731BE-46ED-43BA-893C-A8984F56D6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E8963A-5EA6-4409-9E7E-478F4C65CE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9C5EC2B-ED03-4F8E-A15C-7E9A4FA88B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A15C5-35DA-42D8-BC53-5C82FCBBB759}" type="datetimeFigureOut">
              <a:rPr lang="nl-NL" smtClean="0"/>
              <a:t>11-9-2022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056D6F-F024-4679-8E6A-A5BFC576A8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9921C4-B674-4F85-9697-6DE500A5A0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E2979-7B3C-455D-92A2-BE93F9C3D21D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247705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tif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AC4B63-2DEE-4899-A4D6-363FC6682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27CF97-5D92-4986-B508-5B04BBB76E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7CA3A5-D997-41CF-BA6F-B917F96518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6A15C5-35DA-42D8-BC53-5C82FCBBB759}" type="datetimeFigureOut">
              <a:rPr lang="nl-NL" smtClean="0"/>
              <a:t>11-9-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579910-9CBF-479B-B2A5-030384DA5F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A97DDF-EE3A-4662-BBED-18C268EF5D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DE2979-7B3C-455D-92A2-BE93F9C3D21D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67237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27369E62-5784-3744-B0A0-63C193F9C0CB}"/>
              </a:ext>
            </a:extLst>
          </p:cNvPr>
          <p:cNvSpPr/>
          <p:nvPr userDrawn="1"/>
        </p:nvSpPr>
        <p:spPr>
          <a:xfrm>
            <a:off x="-12701" y="6311900"/>
            <a:ext cx="12204701" cy="546100"/>
          </a:xfrm>
          <a:prstGeom prst="rect">
            <a:avLst/>
          </a:prstGeom>
          <a:solidFill>
            <a:srgbClr val="1948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582B35E7-2321-A74B-A858-17D0401CCFFB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148" y="6355538"/>
            <a:ext cx="1050103" cy="458824"/>
          </a:xfrm>
          <a:prstGeom prst="rect">
            <a:avLst/>
          </a:prstGeom>
        </p:spPr>
      </p:pic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A2A690D-6013-9742-AA1B-D98FE50258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2A5476F9-7F87-484A-9BB6-389343D28C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nl-NL"/>
              <a:t>Tekststijl van het model bewerken
Tweede niveau
Derde niveau
Vierde niveau
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1AAB982C-20FE-B44F-AD9C-CA31C13C94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22E37C-2CB0-7F4C-B46B-7D312ED4A3C8}" type="datetime1">
              <a:rPr lang="nl-NL" smtClean="0"/>
              <a:t>11-9-2022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F43A84BD-2C56-8742-A533-7EF762ED10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NL"/>
              <a:t>Algemene Ledenvergadering |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DC69533-F9F1-114E-BFE9-32B7695106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B76575-F0E3-2946-B352-1F31B9633D4B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99245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9.tif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488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F7A7C8-82A9-4BE2-9369-EFC2FEE891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3136" y="5091762"/>
            <a:ext cx="7834193" cy="1264588"/>
          </a:xfrm>
        </p:spPr>
        <p:txBody>
          <a:bodyPr anchor="ctr">
            <a:normAutofit/>
          </a:bodyPr>
          <a:lstStyle/>
          <a:p>
            <a:pPr algn="r">
              <a:spcBef>
                <a:spcPts val="0"/>
              </a:spcBef>
              <a:spcAft>
                <a:spcPts val="600"/>
              </a:spcAft>
            </a:pPr>
            <a:r>
              <a:rPr lang="nl-NL" sz="3000" b="1" dirty="0">
                <a:latin typeface="Arial" panose="020B0604020202020204" pitchFamily="34" charset="0"/>
                <a:cs typeface="Arial" panose="020B0604020202020204" pitchFamily="34" charset="0"/>
              </a:rPr>
              <a:t>Algemene Ledenvergadering</a:t>
            </a:r>
            <a:br>
              <a:rPr lang="nl-NL" sz="3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l-NL" sz="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nl-NL" sz="3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l-NL" sz="1400" dirty="0">
                <a:latin typeface="Arial" panose="020B0604020202020204" pitchFamily="34" charset="0"/>
                <a:cs typeface="Arial" panose="020B0604020202020204" pitchFamily="34" charset="0"/>
              </a:rPr>
              <a:t>13 september 2022</a:t>
            </a:r>
            <a:endParaRPr lang="nl-NL" sz="3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F7705EC0-E6BF-46B5-9705-2275D585054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983" y="10"/>
            <a:ext cx="12192000" cy="457199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126E481-B945-4179-BD79-05E96E9B29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rgbClr val="FFFFFF">
                <a:alpha val="8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Afbeelding 22">
            <a:extLst>
              <a:ext uri="{FF2B5EF4-FFF2-40B4-BE49-F238E27FC236}">
                <a16:creationId xmlns:a16="http://schemas.microsoft.com/office/drawing/2014/main" id="{2DFBA5E0-23B0-4125-B0DE-F88A8784787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36009" y="5177803"/>
            <a:ext cx="2500403" cy="1092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53430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2FCB20-1285-394E-BFE7-36AD5E430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 dirty="0">
                <a:latin typeface="Arial" panose="020B0604020202020204" pitchFamily="34" charset="0"/>
                <a:cs typeface="Arial" panose="020B0604020202020204" pitchFamily="34" charset="0"/>
              </a:rPr>
              <a:t>5. Verslag/benoeming kascommissie</a:t>
            </a:r>
            <a:endParaRPr lang="nl-NL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E0A094A-51E9-904A-8441-43414C608E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B76575-F0E3-2946-B352-1F31B9633D4B}" type="slidenum">
              <a:rPr lang="nl-NL" sz="1400" smtClean="0">
                <a:solidFill>
                  <a:schemeClr val="bg1"/>
                </a:solidFill>
              </a:rPr>
              <a:t>10</a:t>
            </a:fld>
            <a:endParaRPr lang="nl-NL" sz="1400" dirty="0">
              <a:solidFill>
                <a:schemeClr val="bg1"/>
              </a:solidFill>
            </a:endParaRPr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D0391970-FF18-A349-BADC-B77CE965DC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7112000" cy="365125"/>
          </a:xfrm>
        </p:spPr>
        <p:txBody>
          <a:bodyPr/>
          <a:lstStyle/>
          <a:p>
            <a:pPr algn="r"/>
            <a:r>
              <a:rPr lang="nl-NL" sz="1400" dirty="0">
                <a:solidFill>
                  <a:schemeClr val="bg1"/>
                </a:solidFill>
              </a:rPr>
              <a:t>Algemene Ledenvergadering |</a:t>
            </a:r>
          </a:p>
        </p:txBody>
      </p:sp>
      <p:sp>
        <p:nvSpPr>
          <p:cNvPr id="9" name="Tijdelijke aanduiding voor inhoud 2">
            <a:extLst>
              <a:ext uri="{FF2B5EF4-FFF2-40B4-BE49-F238E27FC236}">
                <a16:creationId xmlns:a16="http://schemas.microsoft.com/office/drawing/2014/main" id="{7DD8CF25-74AB-A941-B536-94C7F8AF94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pPr marL="0" indent="0">
              <a:buNone/>
            </a:pPr>
            <a:r>
              <a:rPr lang="nl-NL" sz="2400" b="1" dirty="0">
                <a:latin typeface="Arial" panose="020B0604020202020204" pitchFamily="34" charset="0"/>
                <a:cs typeface="Arial" panose="020B0604020202020204" pitchFamily="34" charset="0"/>
              </a:rPr>
              <a:t>Verslag kascommissie</a:t>
            </a: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George Kempff &amp; Wim </a:t>
            </a:r>
            <a:r>
              <a:rPr lang="nl-NL" sz="2000" dirty="0" err="1">
                <a:latin typeface="Arial" panose="020B0604020202020204" pitchFamily="34" charset="0"/>
                <a:cs typeface="Arial" panose="020B0604020202020204" pitchFamily="34" charset="0"/>
              </a:rPr>
              <a:t>Aussems</a:t>
            </a: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 (reserve Esmee van der Steen)</a:t>
            </a:r>
          </a:p>
          <a:p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nl-NL" sz="2400" b="1" dirty="0">
                <a:latin typeface="Arial" panose="020B0604020202020204" pitchFamily="34" charset="0"/>
                <a:cs typeface="Arial" panose="020B0604020202020204" pitchFamily="34" charset="0"/>
              </a:rPr>
              <a:t>Benoeming kascommissie</a:t>
            </a: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Kascommissie 2022-2023</a:t>
            </a:r>
          </a:p>
          <a:p>
            <a:pPr marL="0" indent="0">
              <a:buNone/>
            </a:pPr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nl-NL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nl-N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4907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2FCB20-1285-394E-BFE7-36AD5E430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 dirty="0">
                <a:latin typeface="Arial" panose="020B0604020202020204" pitchFamily="34" charset="0"/>
                <a:cs typeface="Arial" panose="020B0604020202020204" pitchFamily="34" charset="0"/>
              </a:rPr>
              <a:t>6. Verslag overige commissies</a:t>
            </a:r>
            <a:endParaRPr lang="nl-NL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E0A094A-51E9-904A-8441-43414C608E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B76575-F0E3-2946-B352-1F31B9633D4B}" type="slidenum">
              <a:rPr lang="nl-NL" sz="1400" smtClean="0">
                <a:solidFill>
                  <a:schemeClr val="bg1"/>
                </a:solidFill>
              </a:rPr>
              <a:t>11</a:t>
            </a:fld>
            <a:endParaRPr lang="nl-NL" sz="1400" dirty="0">
              <a:solidFill>
                <a:schemeClr val="bg1"/>
              </a:solidFill>
            </a:endParaRPr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D0391970-FF18-A349-BADC-B77CE965DC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7112000" cy="365125"/>
          </a:xfrm>
        </p:spPr>
        <p:txBody>
          <a:bodyPr/>
          <a:lstStyle/>
          <a:p>
            <a:pPr algn="r"/>
            <a:r>
              <a:rPr lang="nl-NL" sz="1400" dirty="0">
                <a:solidFill>
                  <a:schemeClr val="bg1"/>
                </a:solidFill>
              </a:rPr>
              <a:t>Algemene Ledenvergadering |</a:t>
            </a:r>
          </a:p>
        </p:txBody>
      </p:sp>
      <p:sp>
        <p:nvSpPr>
          <p:cNvPr id="9" name="Tijdelijke aanduiding voor inhoud 2">
            <a:extLst>
              <a:ext uri="{FF2B5EF4-FFF2-40B4-BE49-F238E27FC236}">
                <a16:creationId xmlns:a16="http://schemas.microsoft.com/office/drawing/2014/main" id="{7DD8CF25-74AB-A941-B536-94C7F8AF94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Ledenadministratie 			Frans Basters</a:t>
            </a:r>
          </a:p>
          <a:p>
            <a:pPr>
              <a:lnSpc>
                <a:spcPct val="150000"/>
              </a:lnSpc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Technische Zaken			Nicky Hovenier</a:t>
            </a:r>
          </a:p>
          <a:p>
            <a:pPr>
              <a:lnSpc>
                <a:spcPct val="150000"/>
              </a:lnSpc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Wedstrijd Zaken 			Renée Hovenier</a:t>
            </a:r>
          </a:p>
          <a:p>
            <a:pPr>
              <a:lnSpc>
                <a:spcPct val="150000"/>
              </a:lnSpc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Scheidsrechter Contactpersoon	Ron Hovenier</a:t>
            </a:r>
            <a:endParaRPr lang="nl-NL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Communicatie			Renée Hovenier </a:t>
            </a:r>
          </a:p>
          <a:p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nl-NL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nl-N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17233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2FCB20-1285-394E-BFE7-36AD5E430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 dirty="0">
                <a:latin typeface="Arial" panose="020B0604020202020204" pitchFamily="34" charset="0"/>
                <a:cs typeface="Arial" panose="020B0604020202020204" pitchFamily="34" charset="0"/>
              </a:rPr>
              <a:t>7. Rooster van Aftreden</a:t>
            </a:r>
            <a:endParaRPr lang="nl-NL" dirty="0"/>
          </a:p>
        </p:txBody>
      </p:sp>
      <p:graphicFrame>
        <p:nvGraphicFramePr>
          <p:cNvPr id="7" name="Tijdelijke aanduiding voor inhoud 6">
            <a:extLst>
              <a:ext uri="{FF2B5EF4-FFF2-40B4-BE49-F238E27FC236}">
                <a16:creationId xmlns:a16="http://schemas.microsoft.com/office/drawing/2014/main" id="{58591AD4-9B17-664F-A90B-DB3FEEABCA5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52638228"/>
              </p:ext>
            </p:extLst>
          </p:nvPr>
        </p:nvGraphicFramePr>
        <p:xfrm>
          <a:off x="838200" y="1825625"/>
          <a:ext cx="10515600" cy="259588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628900">
                  <a:extLst>
                    <a:ext uri="{9D8B030D-6E8A-4147-A177-3AD203B41FA5}">
                      <a16:colId xmlns:a16="http://schemas.microsoft.com/office/drawing/2014/main" val="1632009497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3907379887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3597788438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125284976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angetred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ftredend/herkiesba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uidige functi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72031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n Hoven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ptember 20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ptember 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orzit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59959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ans Bas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ptember 20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ptember 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denadministrati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87465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née Hoven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ktober 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ptember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dstrijdzak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51805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garet Trom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ktober 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ptember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nningmees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71633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cky Hoven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ptember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ptember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chnische Zak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31079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nl-NL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cretar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3543748"/>
                  </a:ext>
                </a:extLst>
              </a:tr>
            </a:tbl>
          </a:graphicData>
        </a:graphic>
      </p:graphicFrame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E0A094A-51E9-904A-8441-43414C608E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B76575-F0E3-2946-B352-1F31B9633D4B}" type="slidenum">
              <a:rPr lang="nl-NL" sz="1400" smtClean="0">
                <a:solidFill>
                  <a:schemeClr val="bg1"/>
                </a:solidFill>
              </a:rPr>
              <a:t>12</a:t>
            </a:fld>
            <a:endParaRPr lang="nl-NL" sz="1400" dirty="0">
              <a:solidFill>
                <a:schemeClr val="bg1"/>
              </a:solidFill>
            </a:endParaRPr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D0391970-FF18-A349-BADC-B77CE965DC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7112000" cy="365125"/>
          </a:xfrm>
        </p:spPr>
        <p:txBody>
          <a:bodyPr/>
          <a:lstStyle/>
          <a:p>
            <a:pPr algn="r"/>
            <a:r>
              <a:rPr lang="nl-NL" sz="1400" dirty="0">
                <a:solidFill>
                  <a:schemeClr val="bg1"/>
                </a:solidFill>
              </a:rPr>
              <a:t>Algemene Ledenvergadering |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10068AE-57F6-4AA8-B21C-BBA270B5F486}"/>
              </a:ext>
            </a:extLst>
          </p:cNvPr>
          <p:cNvSpPr/>
          <p:nvPr/>
        </p:nvSpPr>
        <p:spPr>
          <a:xfrm>
            <a:off x="6052991" y="4959038"/>
            <a:ext cx="5300809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2000" b="1" dirty="0">
                <a:latin typeface="Arial" panose="020B0604020202020204" pitchFamily="34" charset="0"/>
                <a:cs typeface="Arial" panose="020B0604020202020204" pitchFamily="34" charset="0"/>
              </a:rPr>
              <a:t>Aftredend, niet herkiesbaar:</a:t>
            </a:r>
          </a:p>
          <a:p>
            <a:r>
              <a:rPr lang="nl-NL" dirty="0">
                <a:latin typeface="Arial" panose="020B0604020202020204" pitchFamily="34" charset="0"/>
                <a:cs typeface="Arial" panose="020B0604020202020204" pitchFamily="34" charset="0"/>
              </a:rPr>
              <a:t>Ron Hoveni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892D3E0-23D6-4FF2-9431-E5229B6B3697}"/>
              </a:ext>
            </a:extLst>
          </p:cNvPr>
          <p:cNvSpPr/>
          <p:nvPr/>
        </p:nvSpPr>
        <p:spPr>
          <a:xfrm>
            <a:off x="795191" y="4959038"/>
            <a:ext cx="530080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2000" b="1" dirty="0">
                <a:latin typeface="Arial" panose="020B0604020202020204" pitchFamily="34" charset="0"/>
                <a:cs typeface="Arial" panose="020B0604020202020204" pitchFamily="34" charset="0"/>
              </a:rPr>
              <a:t>Aftredend, herkiesbaar:</a:t>
            </a:r>
          </a:p>
        </p:txBody>
      </p:sp>
    </p:spTree>
    <p:extLst>
      <p:ext uri="{BB962C8B-B14F-4D97-AF65-F5344CB8AC3E}">
        <p14:creationId xmlns:p14="http://schemas.microsoft.com/office/powerpoint/2010/main" val="22206761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2FCB20-1285-394E-BFE7-36AD5E430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 dirty="0">
                <a:latin typeface="Arial" panose="020B0604020202020204" pitchFamily="34" charset="0"/>
                <a:cs typeface="Arial" panose="020B0604020202020204" pitchFamily="34" charset="0"/>
              </a:rPr>
              <a:t>7. Vacatures</a:t>
            </a:r>
            <a:endParaRPr lang="nl-NL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E0A094A-51E9-904A-8441-43414C608E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B76575-F0E3-2946-B352-1F31B9633D4B}" type="slidenum">
              <a:rPr lang="nl-NL" sz="1400" smtClean="0">
                <a:solidFill>
                  <a:schemeClr val="bg1"/>
                </a:solidFill>
              </a:rPr>
              <a:t>13</a:t>
            </a:fld>
            <a:endParaRPr lang="nl-NL" sz="1400" dirty="0">
              <a:solidFill>
                <a:schemeClr val="bg1"/>
              </a:solidFill>
            </a:endParaRPr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D0391970-FF18-A349-BADC-B77CE965DC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7112000" cy="365125"/>
          </a:xfrm>
        </p:spPr>
        <p:txBody>
          <a:bodyPr/>
          <a:lstStyle/>
          <a:p>
            <a:pPr algn="r"/>
            <a:r>
              <a:rPr lang="nl-NL" sz="1400" dirty="0">
                <a:solidFill>
                  <a:schemeClr val="bg1"/>
                </a:solidFill>
              </a:rPr>
              <a:t>Algemene Ledenvergadering |</a:t>
            </a:r>
          </a:p>
        </p:txBody>
      </p:sp>
      <p:sp>
        <p:nvSpPr>
          <p:cNvPr id="9" name="Tijdelijke aanduiding voor inhoud 2">
            <a:extLst>
              <a:ext uri="{FF2B5EF4-FFF2-40B4-BE49-F238E27FC236}">
                <a16:creationId xmlns:a16="http://schemas.microsoft.com/office/drawing/2014/main" id="{7DD8CF25-74AB-A941-B536-94C7F8AF94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pPr marL="0" indent="0">
              <a:buNone/>
            </a:pPr>
            <a:r>
              <a:rPr lang="nl-NL" sz="2400" b="1" dirty="0">
                <a:latin typeface="Arial" panose="020B0604020202020204" pitchFamily="34" charset="0"/>
                <a:cs typeface="Arial" panose="020B0604020202020204" pitchFamily="34" charset="0"/>
              </a:rPr>
              <a:t>Bestuursfuncties				Kandidaten</a:t>
            </a: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Voorzitter</a:t>
            </a: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Secretaris</a:t>
            </a:r>
          </a:p>
          <a:p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nl-NL" sz="2400" b="1" dirty="0">
                <a:latin typeface="Arial" panose="020B0604020202020204" pitchFamily="34" charset="0"/>
                <a:cs typeface="Arial" panose="020B0604020202020204" pitchFamily="34" charset="0"/>
              </a:rPr>
              <a:t>Commissies</a:t>
            </a: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Communicatie</a:t>
            </a: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Sponsorzaken</a:t>
            </a:r>
          </a:p>
          <a:p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NL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rijwilligers</a:t>
            </a:r>
          </a:p>
          <a:p>
            <a:pPr>
              <a:defRPr/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Oliebollentoernooi, kamp einde seizoen voor jeugd, oud papier, …</a:t>
            </a:r>
          </a:p>
        </p:txBody>
      </p:sp>
    </p:spTree>
    <p:extLst>
      <p:ext uri="{BB962C8B-B14F-4D97-AF65-F5344CB8AC3E}">
        <p14:creationId xmlns:p14="http://schemas.microsoft.com/office/powerpoint/2010/main" val="7725265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2FCB20-1285-394E-BFE7-36AD5E430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 dirty="0">
                <a:latin typeface="Arial" panose="020B0604020202020204" pitchFamily="34" charset="0"/>
                <a:cs typeface="Arial" panose="020B0604020202020204" pitchFamily="34" charset="0"/>
              </a:rPr>
              <a:t>8. Rondvraag</a:t>
            </a:r>
            <a:endParaRPr lang="nl-NL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E0A094A-51E9-904A-8441-43414C608E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B76575-F0E3-2946-B352-1F31B9633D4B}" type="slidenum">
              <a:rPr kumimoji="0" lang="nl-NL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nl-NL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D0391970-FF18-A349-BADC-B77CE965DC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71120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gemene Ledenvergadering |</a:t>
            </a:r>
          </a:p>
        </p:txBody>
      </p:sp>
    </p:spTree>
    <p:extLst>
      <p:ext uri="{BB962C8B-B14F-4D97-AF65-F5344CB8AC3E}">
        <p14:creationId xmlns:p14="http://schemas.microsoft.com/office/powerpoint/2010/main" val="2870179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2FCB20-1285-394E-BFE7-36AD5E430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 dirty="0">
                <a:latin typeface="Arial" panose="020B0604020202020204" pitchFamily="34" charset="0"/>
                <a:cs typeface="Arial" panose="020B0604020202020204" pitchFamily="34" charset="0"/>
              </a:rPr>
              <a:t>9. Sluiting</a:t>
            </a:r>
            <a:endParaRPr lang="nl-NL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E0A094A-51E9-904A-8441-43414C608E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B76575-F0E3-2946-B352-1F31B9633D4B}" type="slidenum">
              <a:rPr kumimoji="0" lang="nl-NL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nl-NL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D0391970-FF18-A349-BADC-B77CE965DC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71120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gemene Ledenvergadering |</a:t>
            </a:r>
          </a:p>
        </p:txBody>
      </p:sp>
    </p:spTree>
    <p:extLst>
      <p:ext uri="{BB962C8B-B14F-4D97-AF65-F5344CB8AC3E}">
        <p14:creationId xmlns:p14="http://schemas.microsoft.com/office/powerpoint/2010/main" val="23063384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LogoWHTArtboard 1@2x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1939" y="3105597"/>
            <a:ext cx="3822079" cy="452073"/>
          </a:xfrm>
          <a:prstGeom prst="rect">
            <a:avLst/>
          </a:prstGeom>
        </p:spPr>
      </p:pic>
      <p:sp>
        <p:nvSpPr>
          <p:cNvPr id="7" name="Rechthoek 6">
            <a:extLst>
              <a:ext uri="{FF2B5EF4-FFF2-40B4-BE49-F238E27FC236}">
                <a16:creationId xmlns:a16="http://schemas.microsoft.com/office/drawing/2014/main" id="{790C82BF-5878-BA41-8EA4-C90B167AE238}"/>
              </a:ext>
            </a:extLst>
          </p:cNvPr>
          <p:cNvSpPr/>
          <p:nvPr/>
        </p:nvSpPr>
        <p:spPr>
          <a:xfrm>
            <a:off x="-12701" y="0"/>
            <a:ext cx="12204701" cy="6858000"/>
          </a:xfrm>
          <a:prstGeom prst="rect">
            <a:avLst/>
          </a:prstGeom>
          <a:solidFill>
            <a:srgbClr val="1948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3" name="Afbeelding 22">
            <a:extLst>
              <a:ext uri="{FF2B5EF4-FFF2-40B4-BE49-F238E27FC236}">
                <a16:creationId xmlns:a16="http://schemas.microsoft.com/office/drawing/2014/main" id="{89E57FF7-0F9A-C848-867B-052A7D77462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88100" y="1856043"/>
            <a:ext cx="7200000" cy="314591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236874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F4C658-377C-CD4A-BAA2-D4B93416D1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 dirty="0"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21E40DAC-EA4B-7940-B348-D555605CC5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Opening &amp; mededelingen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Bestuursleden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Notulen ALV 2021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Financiële zaken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Verslag &amp; benoeming kascommissie 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Verslag diverse commissies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Vacatures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Rondvraag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Sluiting</a:t>
            </a:r>
          </a:p>
          <a:p>
            <a:endParaRPr lang="nl-N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6B771383-856A-AD41-BA4B-36567C312C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71120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gemene Ledenvergadering |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E5346BFD-C182-DC4B-94BD-ECB7E43A78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B76575-F0E3-2946-B352-1F31B9633D4B}" type="slidenum">
              <a:rPr kumimoji="0" lang="nl-NL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l-NL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85867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2FCB20-1285-394E-BFE7-36AD5E430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 dirty="0">
                <a:latin typeface="Arial" panose="020B0604020202020204" pitchFamily="34" charset="0"/>
                <a:cs typeface="Arial" panose="020B0604020202020204" pitchFamily="34" charset="0"/>
              </a:rPr>
              <a:t>1. Opening &amp; Mededelingen</a:t>
            </a:r>
            <a:endParaRPr lang="nl-NL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E0A094A-51E9-904A-8441-43414C608E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B76575-F0E3-2946-B352-1F31B9633D4B}" type="slidenum">
              <a:rPr kumimoji="0" lang="nl-NL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l-NL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D0391970-FF18-A349-BADC-B77CE965DC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71120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gemene Ledenvergadering |</a:t>
            </a:r>
          </a:p>
        </p:txBody>
      </p:sp>
    </p:spTree>
    <p:extLst>
      <p:ext uri="{BB962C8B-B14F-4D97-AF65-F5344CB8AC3E}">
        <p14:creationId xmlns:p14="http://schemas.microsoft.com/office/powerpoint/2010/main" val="23968383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2FCB20-1285-394E-BFE7-36AD5E430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 dirty="0">
                <a:latin typeface="Arial" panose="020B0604020202020204" pitchFamily="34" charset="0"/>
                <a:cs typeface="Arial" panose="020B0604020202020204" pitchFamily="34" charset="0"/>
              </a:rPr>
              <a:t>2. Bestuursleden</a:t>
            </a:r>
            <a:endParaRPr lang="nl-NL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E0A094A-51E9-904A-8441-43414C608E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B76575-F0E3-2946-B352-1F31B9633D4B}" type="slidenum">
              <a:rPr kumimoji="0" lang="nl-NL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l-NL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D0391970-FF18-A349-BADC-B77CE965DC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71120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gemene Ledenvergadering |</a:t>
            </a:r>
          </a:p>
        </p:txBody>
      </p:sp>
      <p:graphicFrame>
        <p:nvGraphicFramePr>
          <p:cNvPr id="7" name="Tijdelijke aanduiding voor inhoud 6">
            <a:extLst>
              <a:ext uri="{FF2B5EF4-FFF2-40B4-BE49-F238E27FC236}">
                <a16:creationId xmlns:a16="http://schemas.microsoft.com/office/drawing/2014/main" id="{06792051-D0AA-4799-A1F6-56402ACB5A8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06202947"/>
              </p:ext>
            </p:extLst>
          </p:nvPr>
        </p:nvGraphicFramePr>
        <p:xfrm>
          <a:off x="838200" y="1825625"/>
          <a:ext cx="10190172" cy="259588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5095086">
                  <a:extLst>
                    <a:ext uri="{9D8B030D-6E8A-4147-A177-3AD203B41FA5}">
                      <a16:colId xmlns:a16="http://schemas.microsoft.com/office/drawing/2014/main" val="1632009497"/>
                    </a:ext>
                  </a:extLst>
                </a:gridCol>
                <a:gridCol w="5095086">
                  <a:extLst>
                    <a:ext uri="{9D8B030D-6E8A-4147-A177-3AD203B41FA5}">
                      <a16:colId xmlns:a16="http://schemas.microsoft.com/office/drawing/2014/main" val="39073798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72031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n Hoven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orzit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03935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nl-NL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cretar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17262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garet Trom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nningmees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80313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ans Bas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denadministrati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66219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née Hoven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dstrijdzaken, Communicati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99852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cky Hovenier &amp; Krista van den Asse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chnische Zak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64797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030854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2FCB20-1285-394E-BFE7-36AD5E430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 dirty="0">
                <a:latin typeface="Arial" panose="020B0604020202020204" pitchFamily="34" charset="0"/>
                <a:cs typeface="Arial" panose="020B0604020202020204" pitchFamily="34" charset="0"/>
              </a:rPr>
              <a:t>3. Notulen ALV 2021</a:t>
            </a:r>
            <a:endParaRPr lang="nl-NL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E0A094A-51E9-904A-8441-43414C608E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B76575-F0E3-2946-B352-1F31B9633D4B}" type="slidenum">
              <a:rPr kumimoji="0" lang="nl-NL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l-NL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D0391970-FF18-A349-BADC-B77CE965DC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71120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gemene Ledenvergadering |</a:t>
            </a:r>
          </a:p>
        </p:txBody>
      </p:sp>
      <p:sp>
        <p:nvSpPr>
          <p:cNvPr id="9" name="Tijdelijke aanduiding voor inhoud 2">
            <a:extLst>
              <a:ext uri="{FF2B5EF4-FFF2-40B4-BE49-F238E27FC236}">
                <a16:creationId xmlns:a16="http://schemas.microsoft.com/office/drawing/2014/main" id="{9664F123-FEAE-EA4B-AAD5-B5A9EA96FE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pPr marL="0" indent="0">
              <a:buNone/>
            </a:pPr>
            <a:endParaRPr lang="nl-NL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nl-N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13503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2FCB20-1285-394E-BFE7-36AD5E430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 dirty="0">
                <a:latin typeface="Arial" panose="020B0604020202020204" pitchFamily="34" charset="0"/>
                <a:cs typeface="Arial" panose="020B0604020202020204" pitchFamily="34" charset="0"/>
              </a:rPr>
              <a:t>4. Financiële Zaken</a:t>
            </a:r>
            <a:endParaRPr lang="nl-NL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E0A094A-51E9-904A-8441-43414C608E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B76575-F0E3-2946-B352-1F31B9633D4B}" type="slidenum">
              <a:rPr kumimoji="0" lang="nl-NL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l-NL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D0391970-FF18-A349-BADC-B77CE965DC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71120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gemene Ledenvergadering |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1377D23-2BFD-477B-AF2F-115F9E1669BA}"/>
              </a:ext>
            </a:extLst>
          </p:cNvPr>
          <p:cNvSpPr txBox="1"/>
          <p:nvPr/>
        </p:nvSpPr>
        <p:spPr>
          <a:xfrm>
            <a:off x="8226552" y="762167"/>
            <a:ext cx="34869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1800" b="1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atenrekening 2021-2022</a:t>
            </a:r>
            <a:endParaRPr lang="it-IT" sz="1800" b="0" i="0" u="none" strike="noStrike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de-DE" sz="18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de-DE" sz="1800" b="0" i="0" u="none" strike="noStrike" baseline="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gustus</a:t>
            </a:r>
            <a:r>
              <a:rPr lang="de-DE" sz="18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1 - 31 </a:t>
            </a:r>
            <a:r>
              <a:rPr lang="de-DE" sz="1800" b="0" i="0" u="none" strike="noStrike" baseline="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li</a:t>
            </a:r>
            <a:r>
              <a:rPr lang="de-DE" sz="18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2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2DB3908-5783-4F62-AB4B-AAC8A992F2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133" y="1783080"/>
            <a:ext cx="11603455" cy="4491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6821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2FCB20-1285-394E-BFE7-36AD5E430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 dirty="0">
                <a:latin typeface="Arial" panose="020B0604020202020204" pitchFamily="34" charset="0"/>
                <a:cs typeface="Arial" panose="020B0604020202020204" pitchFamily="34" charset="0"/>
              </a:rPr>
              <a:t>4. Financiële Zaken</a:t>
            </a:r>
            <a:endParaRPr lang="nl-NL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E0A094A-51E9-904A-8441-43414C608E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B76575-F0E3-2946-B352-1F31B9633D4B}" type="slidenum">
              <a:rPr kumimoji="0" lang="nl-NL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nl-NL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D0391970-FF18-A349-BADC-B77CE965DC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71120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gemene Ledenvergadering |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1377D23-2BFD-477B-AF2F-115F9E1669BA}"/>
              </a:ext>
            </a:extLst>
          </p:cNvPr>
          <p:cNvSpPr txBox="1"/>
          <p:nvPr/>
        </p:nvSpPr>
        <p:spPr>
          <a:xfrm>
            <a:off x="8226552" y="762167"/>
            <a:ext cx="3486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1800" b="1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lans per 31 juli 2022</a:t>
            </a:r>
            <a:endParaRPr lang="it-IT" sz="1800" b="0" i="0" u="none" strike="noStrike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ADD375E-B076-41C2-85F2-6675E037E5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95691" y="1316549"/>
            <a:ext cx="7980998" cy="4993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6086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2FCB20-1285-394E-BFE7-36AD5E430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 dirty="0">
                <a:latin typeface="Arial" panose="020B0604020202020204" pitchFamily="34" charset="0"/>
                <a:cs typeface="Arial" panose="020B0604020202020204" pitchFamily="34" charset="0"/>
              </a:rPr>
              <a:t>4. Financiële Zaken</a:t>
            </a:r>
            <a:endParaRPr lang="nl-NL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E0A094A-51E9-904A-8441-43414C608E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B76575-F0E3-2946-B352-1F31B9633D4B}" type="slidenum">
              <a:rPr kumimoji="0" lang="nl-NL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nl-NL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D0391970-FF18-A349-BADC-B77CE965DC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71120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gemene Ledenvergadering |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1377D23-2BFD-477B-AF2F-115F9E1669BA}"/>
              </a:ext>
            </a:extLst>
          </p:cNvPr>
          <p:cNvSpPr txBox="1"/>
          <p:nvPr/>
        </p:nvSpPr>
        <p:spPr>
          <a:xfrm>
            <a:off x="8226552" y="762167"/>
            <a:ext cx="3486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1800" b="1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groting 2022-2023</a:t>
            </a:r>
            <a:endParaRPr lang="it-IT" sz="1800" b="0" i="0" u="none" strike="noStrike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9E4C457-D5EE-4AA5-9D19-A431F7AE09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588" y="1819656"/>
            <a:ext cx="11490266" cy="4276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976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2FCB20-1285-394E-BFE7-36AD5E430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 dirty="0">
                <a:latin typeface="Arial" panose="020B0604020202020204" pitchFamily="34" charset="0"/>
                <a:cs typeface="Arial" panose="020B0604020202020204" pitchFamily="34" charset="0"/>
              </a:rPr>
              <a:t>4. Financiële Zaken</a:t>
            </a:r>
            <a:endParaRPr lang="nl-NL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E0A094A-51E9-904A-8441-43414C608E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B76575-F0E3-2946-B352-1F31B9633D4B}" type="slidenum">
              <a:rPr kumimoji="0" lang="nl-NL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nl-NL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D0391970-FF18-A349-BADC-B77CE965DC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71120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gemene Ledenvergadering |</a:t>
            </a:r>
          </a:p>
        </p:txBody>
      </p:sp>
      <p:sp>
        <p:nvSpPr>
          <p:cNvPr id="9" name="Tijdelijke aanduiding voor inhoud 2">
            <a:extLst>
              <a:ext uri="{FF2B5EF4-FFF2-40B4-BE49-F238E27FC236}">
                <a16:creationId xmlns:a16="http://schemas.microsoft.com/office/drawing/2014/main" id="{7DD8CF25-74AB-A941-B536-94C7F8AF94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pPr marL="0" indent="0">
              <a:buNone/>
            </a:pPr>
            <a:r>
              <a:rPr lang="nl-NL" sz="2400" b="1" dirty="0">
                <a:latin typeface="Arial" panose="020B0604020202020204" pitchFamily="34" charset="0"/>
                <a:cs typeface="Arial" panose="020B0604020202020204" pitchFamily="34" charset="0"/>
              </a:rPr>
              <a:t>Contributievoorstel</a:t>
            </a: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Komend seizoen korting op kledingbijdrage van € 20,=</a:t>
            </a:r>
          </a:p>
          <a:p>
            <a:pPr marL="0" indent="0">
              <a:buNone/>
            </a:pPr>
            <a:endParaRPr lang="nl-NL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nl-N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Tijdelijke aanduiding voor inhoud 6">
            <a:extLst>
              <a:ext uri="{FF2B5EF4-FFF2-40B4-BE49-F238E27FC236}">
                <a16:creationId xmlns:a16="http://schemas.microsoft.com/office/drawing/2014/main" id="{A80FE9EE-3779-4F3D-9588-63890F96564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3105962"/>
              </p:ext>
            </p:extLst>
          </p:nvPr>
        </p:nvGraphicFramePr>
        <p:xfrm>
          <a:off x="838199" y="3212262"/>
          <a:ext cx="10796407" cy="185416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340515">
                  <a:extLst>
                    <a:ext uri="{9D8B030D-6E8A-4147-A177-3AD203B41FA5}">
                      <a16:colId xmlns:a16="http://schemas.microsoft.com/office/drawing/2014/main" val="1632009497"/>
                    </a:ext>
                  </a:extLst>
                </a:gridCol>
                <a:gridCol w="1575982">
                  <a:extLst>
                    <a:ext uri="{9D8B030D-6E8A-4147-A177-3AD203B41FA5}">
                      <a16:colId xmlns:a16="http://schemas.microsoft.com/office/drawing/2014/main" val="3907379887"/>
                    </a:ext>
                  </a:extLst>
                </a:gridCol>
                <a:gridCol w="1575982">
                  <a:extLst>
                    <a:ext uri="{9D8B030D-6E8A-4147-A177-3AD203B41FA5}">
                      <a16:colId xmlns:a16="http://schemas.microsoft.com/office/drawing/2014/main" val="1868859189"/>
                    </a:ext>
                  </a:extLst>
                </a:gridCol>
                <a:gridCol w="1575982">
                  <a:extLst>
                    <a:ext uri="{9D8B030D-6E8A-4147-A177-3AD203B41FA5}">
                      <a16:colId xmlns:a16="http://schemas.microsoft.com/office/drawing/2014/main" val="2626961606"/>
                    </a:ext>
                  </a:extLst>
                </a:gridCol>
                <a:gridCol w="1575982">
                  <a:extLst>
                    <a:ext uri="{9D8B030D-6E8A-4147-A177-3AD203B41FA5}">
                      <a16:colId xmlns:a16="http://schemas.microsoft.com/office/drawing/2014/main" val="2454205491"/>
                    </a:ext>
                  </a:extLst>
                </a:gridCol>
                <a:gridCol w="1575982">
                  <a:extLst>
                    <a:ext uri="{9D8B030D-6E8A-4147-A177-3AD203B41FA5}">
                      <a16:colId xmlns:a16="http://schemas.microsoft.com/office/drawing/2014/main" val="2771307867"/>
                    </a:ext>
                  </a:extLst>
                </a:gridCol>
                <a:gridCol w="1575982">
                  <a:extLst>
                    <a:ext uri="{9D8B030D-6E8A-4147-A177-3AD203B41FA5}">
                      <a16:colId xmlns:a16="http://schemas.microsoft.com/office/drawing/2014/main" val="37813026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l-NL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tegor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b="1" i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s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x Trai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btota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Kled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a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72031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/m 12 ja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 17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.v.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 17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 -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 17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 19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03935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 – 19 ja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 2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 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 28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 -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 28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 30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17262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+ ja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 2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 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 3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 -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 3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 33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8031364"/>
                  </a:ext>
                </a:extLst>
              </a:tr>
              <a:tr h="370800">
                <a:tc>
                  <a:txBody>
                    <a:bodyPr/>
                    <a:lstStyle/>
                    <a:p>
                      <a:r>
                        <a:rPr lang="nl-NL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reant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 17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.v.t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 17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.v.t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 17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 17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66219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057167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40</TotalTime>
  <Words>398</Words>
  <Application>Microsoft Office PowerPoint</Application>
  <PresentationFormat>Widescreen</PresentationFormat>
  <Paragraphs>157</Paragraphs>
  <Slides>1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4" baseType="lpstr">
      <vt:lpstr>Arial</vt:lpstr>
      <vt:lpstr>Calibri</vt:lpstr>
      <vt:lpstr>Calibri Light</vt:lpstr>
      <vt:lpstr>Helvetica Neue</vt:lpstr>
      <vt:lpstr>Helvetica Neue Light</vt:lpstr>
      <vt:lpstr>Office Theme</vt:lpstr>
      <vt:lpstr>Kantoorthema</vt:lpstr>
      <vt:lpstr>think-cell Slide</vt:lpstr>
      <vt:lpstr>Algemene Ledenvergadering   13 september 2022</vt:lpstr>
      <vt:lpstr>Agenda</vt:lpstr>
      <vt:lpstr>1. Opening &amp; Mededelingen</vt:lpstr>
      <vt:lpstr>2. Bestuursleden</vt:lpstr>
      <vt:lpstr>3. Notulen ALV 2021</vt:lpstr>
      <vt:lpstr>4. Financiële Zaken</vt:lpstr>
      <vt:lpstr>4. Financiële Zaken</vt:lpstr>
      <vt:lpstr>4. Financiële Zaken</vt:lpstr>
      <vt:lpstr>4. Financiële Zaken</vt:lpstr>
      <vt:lpstr>5. Verslag/benoeming kascommissie</vt:lpstr>
      <vt:lpstr>6. Verslag overige commissies</vt:lpstr>
      <vt:lpstr>7. Rooster van Aftreden</vt:lpstr>
      <vt:lpstr>7. Vacatures</vt:lpstr>
      <vt:lpstr>8. Rondvraag</vt:lpstr>
      <vt:lpstr>9. Sluiting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gemene Ledenvergadering   24 september 2019</dc:title>
  <dc:creator>den Dekker, Mark</dc:creator>
  <cp:lastModifiedBy>Ron Hovenier</cp:lastModifiedBy>
  <cp:revision>26</cp:revision>
  <dcterms:created xsi:type="dcterms:W3CDTF">2019-09-18T18:42:32Z</dcterms:created>
  <dcterms:modified xsi:type="dcterms:W3CDTF">2022-09-11T20:45:42Z</dcterms:modified>
</cp:coreProperties>
</file>